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1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8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9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20.xml" ContentType="application/vnd.openxmlformats-officedocument.theme+xml"/>
  <Override PartName="/ppt/tags/tag403.xml" ContentType="application/vnd.openxmlformats-officedocument.presentationml.tags+xml"/>
  <Override PartName="/ppt/theme/theme21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notesSlides/notesSlide1.xml" ContentType="application/vnd.openxmlformats-officedocument.presentationml.notesSlid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notesSlides/notesSlide2.xml" ContentType="application/vnd.openxmlformats-officedocument.presentationml.notesSlide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notesSlides/notesSlide3.xml" ContentType="application/vnd.openxmlformats-officedocument.presentationml.notesSlide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notesSlides/notesSlide4.xml" ContentType="application/vnd.openxmlformats-officedocument.presentationml.notesSlide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</p:sldMasterIdLst>
  <p:notesMasterIdLst>
    <p:notesMasterId r:id="rId27"/>
  </p:notesMasterIdLst>
  <p:sldIdLst>
    <p:sldId id="1359" r:id="rId21"/>
    <p:sldId id="1358" r:id="rId22"/>
    <p:sldId id="1357" r:id="rId23"/>
    <p:sldId id="1355" r:id="rId24"/>
    <p:sldId id="1356" r:id="rId25"/>
    <p:sldId id="1348" r:id="rId26"/>
  </p:sldIdLst>
  <p:sldSz cx="10287000" cy="6858000" type="35mm"/>
  <p:notesSz cx="7010400" cy="9296400"/>
  <p:custDataLst>
    <p:tags r:id="rId28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3" userDrawn="1">
          <p15:clr>
            <a:srgbClr val="A4A3A4"/>
          </p15:clr>
        </p15:guide>
        <p15:guide id="2" pos="473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4419" userDrawn="1">
          <p15:clr>
            <a:srgbClr val="A4A3A4"/>
          </p15:clr>
        </p15:guide>
        <p15:guide id="6" pos="4442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958" userDrawn="1">
          <p15:clr>
            <a:srgbClr val="A4A3A4"/>
          </p15:clr>
        </p15:guide>
        <p15:guide id="9" pos="79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E7"/>
    <a:srgbClr val="EBECED"/>
    <a:srgbClr val="000000"/>
    <a:srgbClr val="FFCC66"/>
    <a:srgbClr val="707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97" autoAdjust="0"/>
    <p:restoredTop sz="89286" autoAdjust="0"/>
  </p:normalViewPr>
  <p:slideViewPr>
    <p:cSldViewPr snapToGrid="0" showGuides="1">
      <p:cViewPr>
        <p:scale>
          <a:sx n="100" d="100"/>
          <a:sy n="100" d="100"/>
        </p:scale>
        <p:origin x="-396" y="-72"/>
      </p:cViewPr>
      <p:guideLst>
        <p:guide orient="horz" pos="73"/>
        <p:guide orient="horz" pos="3974"/>
        <p:guide orient="horz" pos="958"/>
        <p:guide pos="473"/>
        <p:guide pos="4419"/>
        <p:guide pos="4442"/>
        <p:guide pos="224"/>
        <p:guide pos="791"/>
      </p:guideLst>
    </p:cSldViewPr>
  </p:slideViewPr>
  <p:outlineViewPr>
    <p:cViewPr>
      <p:scale>
        <a:sx n="33" d="100"/>
        <a:sy n="33" d="100"/>
      </p:scale>
      <p:origin x="0" y="-2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86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6/25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890588" y="696913"/>
            <a:ext cx="52292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5" tIns="46579" rIns="93155" bIns="46579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55" tIns="46579" rIns="93155" bIns="465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1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4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5517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8552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048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20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20223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5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2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1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4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3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8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7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50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5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60.xml"/><Relationship Id="rId21" Type="http://schemas.openxmlformats.org/officeDocument/2006/relationships/tags" Target="../tags/tag398.xml"/><Relationship Id="rId7" Type="http://schemas.openxmlformats.org/officeDocument/2006/relationships/theme" Target="../theme/theme17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59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tags" Target="../tags/tag388.xml"/><Relationship Id="rId24" Type="http://schemas.openxmlformats.org/officeDocument/2006/relationships/tags" Target="../tags/tag401.xml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28" Type="http://schemas.openxmlformats.org/officeDocument/2006/relationships/image" Target="../media/image5.wmf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161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8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85.xml"/><Relationship Id="rId7" Type="http://schemas.openxmlformats.org/officeDocument/2006/relationships/tags" Target="../tags/tag403.xml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3.jpeg"/><Relationship Id="rId5" Type="http://schemas.openxmlformats.org/officeDocument/2006/relationships/theme" Target="../theme/theme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86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9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9.xml"/><Relationship Id="rId9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55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82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3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7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08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3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smtClean="0">
                <a:solidFill>
                  <a:srgbClr val="000000"/>
                </a:solidFill>
              </a:rPr>
              <a:t>Draft</a:t>
            </a:r>
            <a:endParaRPr lang="en-US" sz="10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85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32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4028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6/25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896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6/25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942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6/25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1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50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34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7" Type="http://schemas.openxmlformats.org/officeDocument/2006/relationships/image" Target="../media/image17.emf"/><Relationship Id="rId2" Type="http://schemas.openxmlformats.org/officeDocument/2006/relationships/tags" Target="../tags/tag40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7" Type="http://schemas.openxmlformats.org/officeDocument/2006/relationships/image" Target="../media/image17.emf"/><Relationship Id="rId2" Type="http://schemas.openxmlformats.org/officeDocument/2006/relationships/tags" Target="../tags/tag40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09.xml"/><Relationship Id="rId7" Type="http://schemas.openxmlformats.org/officeDocument/2006/relationships/image" Target="../media/image17.emf"/><Relationship Id="rId2" Type="http://schemas.openxmlformats.org/officeDocument/2006/relationships/tags" Target="../tags/tag40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7" Type="http://schemas.openxmlformats.org/officeDocument/2006/relationships/image" Target="../media/image17.emf"/><Relationship Id="rId2" Type="http://schemas.openxmlformats.org/officeDocument/2006/relationships/tags" Target="../tags/tag41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7" Type="http://schemas.openxmlformats.org/officeDocument/2006/relationships/image" Target="../media/image17.emf"/><Relationship Id="rId2" Type="http://schemas.openxmlformats.org/officeDocument/2006/relationships/tags" Target="../tags/tag41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11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12729"/>
            <a:ext cx="9491663" cy="396875"/>
          </a:xfrm>
        </p:spPr>
        <p:txBody>
          <a:bodyPr/>
          <a:lstStyle/>
          <a:p>
            <a:r>
              <a:rPr lang="en-GB" dirty="0" smtClean="0"/>
              <a:t>Risk Transformation: </a:t>
            </a:r>
            <a:r>
              <a:rPr lang="en-GB" dirty="0" smtClean="0"/>
              <a:t>Project </a:t>
            </a:r>
            <a:r>
              <a:rPr lang="en-GB" dirty="0"/>
              <a:t>P</a:t>
            </a:r>
            <a:r>
              <a:rPr lang="en-GB" dirty="0" smtClean="0"/>
              <a:t>lan (1/6</a:t>
            </a:r>
            <a:r>
              <a:rPr lang="en-GB" dirty="0" smtClean="0"/>
              <a:t>)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8607567" y="348313"/>
            <a:ext cx="1417952" cy="212366"/>
            <a:chOff x="8721411" y="152400"/>
            <a:chExt cx="1417952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8721411" y="152400"/>
              <a:ext cx="141795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JUNE </a:t>
              </a:r>
              <a:r>
                <a:rPr lang="en-US" sz="1200" dirty="0" smtClean="0">
                  <a:solidFill>
                    <a:srgbClr val="808080"/>
                  </a:solidFill>
                </a:rPr>
                <a:t>24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WIP PLAN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34" name="AutoShape 31"/>
            <p:cNvCxnSpPr>
              <a:cxnSpLocks noChangeShapeType="1"/>
              <a:stCxn id="33" idx="2"/>
              <a:endCxn id="33" idx="4"/>
            </p:cNvCxnSpPr>
            <p:nvPr/>
          </p:nvCxnSpPr>
          <p:spPr bwMode="auto">
            <a:xfrm>
              <a:off x="8721411" y="15240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8721411" y="364766"/>
              <a:ext cx="14179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95"/>
          <p:cNvSpPr txBox="1">
            <a:spLocks/>
          </p:cNvSpPr>
          <p:nvPr/>
        </p:nvSpPr>
        <p:spPr>
          <a:xfrm>
            <a:off x="5962072" y="257417"/>
            <a:ext cx="3167704" cy="399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chemeClr val="accent1"/>
              </a:buClr>
            </a:pPr>
            <a:r>
              <a:rPr lang="en-GB" sz="900" b="1" dirty="0" smtClean="0"/>
              <a:t>Deliverables</a:t>
            </a:r>
          </a:p>
          <a:p>
            <a:pPr marL="91440" lvl="2" indent="-117475">
              <a:spcAft>
                <a:spcPts val="100"/>
              </a:spcAft>
              <a:buClr>
                <a:schemeClr val="accent1"/>
              </a:buClr>
            </a:pPr>
            <a:r>
              <a:rPr lang="en-US" sz="900" b="1" dirty="0" smtClean="0">
                <a:solidFill>
                  <a:schemeClr val="tx2"/>
                </a:solidFill>
              </a:rPr>
              <a:t>Examples of milestones under the deliverable</a:t>
            </a:r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49"/>
            <a:ext cx="806199" cy="540887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 smtClean="0">
                <a:solidFill>
                  <a:schemeClr val="bg1"/>
                </a:solidFill>
              </a:rPr>
              <a:t>Risk Appetite Statement (RAS)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4175979"/>
              </p:ext>
            </p:extLst>
          </p:nvPr>
        </p:nvGraphicFramePr>
        <p:xfrm>
          <a:off x="1028700" y="687126"/>
          <a:ext cx="9077325" cy="5162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5900"/>
                <a:gridCol w="742950"/>
                <a:gridCol w="781050"/>
                <a:gridCol w="1053380"/>
                <a:gridCol w="1204045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Milestones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/ Deliverabl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esources (FTE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-leve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S Re-Desig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5">
                  <a:txBody>
                    <a:bodyPr/>
                    <a:lstStyle/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r>
                        <a:rPr lang="en-GB" sz="900" i="1" dirty="0" smtClean="0">
                          <a:solidFill>
                            <a:srgbClr val="000000"/>
                          </a:solidFill>
                        </a:rPr>
                        <a:t>Current resource estimates do not consider resources required for T.O.M. implementation as this will not be known until implementation planning steps are complete.</a:t>
                      </a: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endParaRPr lang="en-GB" sz="90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dirty="0" smtClean="0">
                          <a:solidFill>
                            <a:srgbClr val="000000"/>
                          </a:solidFill>
                        </a:rPr>
                        <a:t>Total (SHUSA): 7</a:t>
                      </a: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Internal: 3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External: 4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Internal: 0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External: 0</a:t>
                      </a:r>
                      <a:endParaRPr lang="en-GB" sz="9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fin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uidelines and approach for choosing metrics and setting limi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rticul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terprise-wide core values, RAS principles and major risk categori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ai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erial risks and constraints, determin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alatativ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isk appetite statement, identify key metrics and calibrate limi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oli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alitative and quantitative statements into SHUSA-level RAS and socialize with stakeholder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-leve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S Implementation, supporting processes and document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cu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-level RAS reporting, monitoring and escalation process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cu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-level RAS development and governance proc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2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-leve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S framework approval proc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finitio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f approach for cascading SHUSA-level RAS to subsidiaries and levels below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cu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proach for cascading SHUSA-level RAS to subsidiaries and levels below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cad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S for priority subsidiaries SBNA &amp; SCUS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ai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erial risks specific to SBNA and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US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ach risk, determine a qualitative risk appetite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atem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antifiable statements, identify key metrics and calibrate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mit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oli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alitative and quantitative statements into SBNA RAS and SCUSA RAS and socialize with stakeholder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ur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ard approval of RAS for priority subsidiari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unic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, SBNA, and SCUSA RAS to enterpri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 remainder of subsidiaries and select Bus (SIS NY, Puerto Rico, Miami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mbe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S in material processes across the enterpri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mplementation of RAS in all material process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12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5760" lvl="3" indent="-87313">
                        <a:buClr>
                          <a:srgbClr val="FF0000"/>
                        </a:buClr>
                      </a:pPr>
                      <a:endParaRPr lang="en-GB" sz="900" dirty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inu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cascade the risk appetite statement for the remainder of subsidiaries and business units and ensure alignment with overall SHUSA risk appetite statemen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5760" lvl="3" indent="-87313">
                        <a:buClr>
                          <a:srgbClr val="FF0000"/>
                        </a:buClr>
                      </a:pPr>
                      <a:endParaRPr lang="en-GB" sz="900" dirty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mbe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appetite statement in key processes at lower levels of the organiz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5760" lvl="3" indent="-87313">
                        <a:buClr>
                          <a:srgbClr val="FF0000"/>
                        </a:buClr>
                      </a:pPr>
                      <a:endParaRPr lang="en-GB" sz="900" dirty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inu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communicate risk appetite statement throughout the enterprise, including training in the new escalation and remediation proc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5760" lvl="3" indent="-87313">
                        <a:buClr>
                          <a:srgbClr val="FF0000"/>
                        </a:buClr>
                      </a:pPr>
                      <a:endParaRPr lang="en-GB" sz="900" dirty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iodicall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hance risk appetite statement based on the latest results of material risk identification and improved risk measurement across the enterpri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3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30/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. Shapiro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5760" lvl="3" indent="-87313">
                        <a:buClr>
                          <a:srgbClr val="FF0000"/>
                        </a:buClr>
                      </a:pPr>
                      <a:endParaRPr lang="en-GB" sz="900" dirty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9971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87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12729"/>
            <a:ext cx="9491663" cy="396875"/>
          </a:xfrm>
        </p:spPr>
        <p:txBody>
          <a:bodyPr/>
          <a:lstStyle/>
          <a:p>
            <a:r>
              <a:rPr lang="en-GB" dirty="0" smtClean="0"/>
              <a:t>Risk Transformation: </a:t>
            </a:r>
            <a:r>
              <a:rPr lang="en-GB" dirty="0" smtClean="0"/>
              <a:t>Project </a:t>
            </a:r>
            <a:r>
              <a:rPr lang="en-GB" dirty="0"/>
              <a:t>P</a:t>
            </a:r>
            <a:r>
              <a:rPr lang="en-GB" dirty="0" smtClean="0"/>
              <a:t>lan (2/6</a:t>
            </a:r>
            <a:r>
              <a:rPr lang="en-GB" dirty="0" smtClean="0"/>
              <a:t>)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8607567" y="348313"/>
            <a:ext cx="1417952" cy="212366"/>
            <a:chOff x="8721411" y="152400"/>
            <a:chExt cx="1417952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8721411" y="152400"/>
              <a:ext cx="141795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JUNE </a:t>
              </a:r>
              <a:r>
                <a:rPr lang="en-US" sz="1200" dirty="0" smtClean="0">
                  <a:solidFill>
                    <a:srgbClr val="808080"/>
                  </a:solidFill>
                </a:rPr>
                <a:t>24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WIP PLAN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34" name="AutoShape 31"/>
            <p:cNvCxnSpPr>
              <a:cxnSpLocks noChangeShapeType="1"/>
              <a:stCxn id="33" idx="2"/>
              <a:endCxn id="33" idx="4"/>
            </p:cNvCxnSpPr>
            <p:nvPr/>
          </p:nvCxnSpPr>
          <p:spPr bwMode="auto">
            <a:xfrm>
              <a:off x="8721411" y="15240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8721411" y="364766"/>
              <a:ext cx="14179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95"/>
          <p:cNvSpPr txBox="1">
            <a:spLocks/>
          </p:cNvSpPr>
          <p:nvPr/>
        </p:nvSpPr>
        <p:spPr>
          <a:xfrm>
            <a:off x="5962072" y="257417"/>
            <a:ext cx="3167704" cy="399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chemeClr val="accent1"/>
              </a:buClr>
            </a:pPr>
            <a:r>
              <a:rPr lang="en-GB" sz="900" b="1" dirty="0" smtClean="0"/>
              <a:t>Deliverables</a:t>
            </a:r>
          </a:p>
          <a:p>
            <a:pPr marL="91440" lvl="2" indent="-117475">
              <a:spcAft>
                <a:spcPts val="100"/>
              </a:spcAft>
              <a:buClr>
                <a:schemeClr val="accent1"/>
              </a:buClr>
            </a:pPr>
            <a:r>
              <a:rPr lang="en-US" sz="900" b="1" dirty="0" smtClean="0">
                <a:solidFill>
                  <a:schemeClr val="tx2"/>
                </a:solidFill>
              </a:rPr>
              <a:t>Examples of milestones under the deliverable</a:t>
            </a:r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49"/>
            <a:ext cx="806199" cy="540887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 smtClean="0">
                <a:solidFill>
                  <a:schemeClr val="bg1"/>
                </a:solidFill>
              </a:rPr>
              <a:t>Risk Governance &amp; Organization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845203"/>
              </p:ext>
            </p:extLst>
          </p:nvPr>
        </p:nvGraphicFramePr>
        <p:xfrm>
          <a:off x="1028700" y="687126"/>
          <a:ext cx="9077325" cy="5467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5900"/>
                <a:gridCol w="742950"/>
                <a:gridCol w="781050"/>
                <a:gridCol w="1053380"/>
                <a:gridCol w="1204045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Milestones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/ Deliverabl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esources (FTE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gnostic of Risk Mgmt. Committee effectiven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4">
                  <a:txBody>
                    <a:bodyPr/>
                    <a:lstStyle/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r>
                        <a:rPr lang="en-GB" sz="900" i="1" dirty="0" smtClean="0">
                          <a:solidFill>
                            <a:srgbClr val="000000"/>
                          </a:solidFill>
                        </a:rPr>
                        <a:t>Current resource estimates do not consider resources required for T.O.M. implementation as this will not be known until implementation planning steps are complete.</a:t>
                      </a: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endParaRPr lang="en-GB" sz="90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dirty="0" smtClean="0">
                          <a:solidFill>
                            <a:srgbClr val="000000"/>
                          </a:solidFill>
                        </a:rPr>
                        <a:t>Total (SHUSA): 16</a:t>
                      </a: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Internal: 6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External: 8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Internal: 3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External: 0</a:t>
                      </a:r>
                      <a:endParaRPr lang="en-GB" sz="9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duct Training for Boar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ermine Scheme of Coordination Between SHUSA and Parent and Define Risk Committees Composition / Mandates / Charter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hance Performance Scorecard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naliz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RO reporting lines and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ganizational structure charts and subsidiary reporting schemes submitted to CRO for approval (SHUSA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2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ign Target Operating Model aligned with 3LoD principles - by risk typ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amework, talent assessment, implementation planning: Risk type A (Most likely Credit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amework, talent assessment, implementation planning: Risk type B (Most likely ERM + RAS + Strategic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amework, talent assessment, implementation planning: Risk type C (Most likely Market &amp; Liquidity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amework, talent assessment, implementation planning: Risk type D (Most likely Compliance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amework, talent assessment, implementation planning: Risk type E (Most likely Risk Management Information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dat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amework, talent assessment, implementation planning: Risk type F (Most likely Capital Risk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s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und Post Implementation Review Conduc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n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und Post Implementation Review Conduc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/25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rd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und Post Implementation Review Conduc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/23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rticulate</a:t>
                      </a:r>
                      <a:r>
                        <a:rPr lang="en-US" sz="1000" b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ong </a:t>
                      </a:r>
                      <a:r>
                        <a:rPr lang="en-US" sz="1000" b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 Desired Risk </a:t>
                      </a:r>
                      <a:r>
                        <a:rPr lang="en-US" sz="1000" b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lture</a:t>
                      </a:r>
                      <a:endParaRPr lang="en-US" sz="1000" b="0" dirty="0">
                        <a:effectLst/>
                        <a:latin typeface="Calibri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9/2016</a:t>
                      </a:r>
                      <a:endParaRPr lang="en-US" sz="1000" b="0" dirty="0">
                        <a:effectLst/>
                        <a:latin typeface="Calibri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18/2016</a:t>
                      </a:r>
                      <a:endParaRPr lang="en-US" sz="1000" b="0" dirty="0">
                        <a:effectLst/>
                        <a:latin typeface="Calibri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llou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formance Assessment and Compensation Frameworks across the Organiz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2/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ig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-based compensation framewor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unicatio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 stakeholder engagemen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date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performance assessment templat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2/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unicatio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 training for organizational changes related to 3 LOD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2/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ig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ruitment and retention mechanism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4/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. Smi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ruit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 retention mechanisms (e.g. Professional development and job rotation programs, job satisfaction assessments, and compensation structure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es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Culture across the Organiz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8004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463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12729"/>
            <a:ext cx="9491663" cy="396875"/>
          </a:xfrm>
        </p:spPr>
        <p:txBody>
          <a:bodyPr/>
          <a:lstStyle/>
          <a:p>
            <a:r>
              <a:rPr lang="en-GB" dirty="0" smtClean="0"/>
              <a:t>Risk Transformation: </a:t>
            </a:r>
            <a:r>
              <a:rPr lang="en-GB" dirty="0" smtClean="0"/>
              <a:t>Project </a:t>
            </a:r>
            <a:r>
              <a:rPr lang="en-GB" dirty="0"/>
              <a:t>P</a:t>
            </a:r>
            <a:r>
              <a:rPr lang="en-GB" dirty="0" smtClean="0"/>
              <a:t>lan </a:t>
            </a:r>
            <a:r>
              <a:rPr lang="en-GB" dirty="0" smtClean="0"/>
              <a:t>(3/6)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8607567" y="348313"/>
            <a:ext cx="1417952" cy="212366"/>
            <a:chOff x="8721411" y="152400"/>
            <a:chExt cx="1417952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8721411" y="152400"/>
              <a:ext cx="141795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JUNE </a:t>
              </a:r>
              <a:r>
                <a:rPr lang="en-US" sz="1200" dirty="0" smtClean="0">
                  <a:solidFill>
                    <a:srgbClr val="808080"/>
                  </a:solidFill>
                </a:rPr>
                <a:t>24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WIP PLAN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34" name="AutoShape 31"/>
            <p:cNvCxnSpPr>
              <a:cxnSpLocks noChangeShapeType="1"/>
              <a:stCxn id="33" idx="2"/>
              <a:endCxn id="33" idx="4"/>
            </p:cNvCxnSpPr>
            <p:nvPr/>
          </p:nvCxnSpPr>
          <p:spPr bwMode="auto">
            <a:xfrm>
              <a:off x="8721411" y="15240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8721411" y="364766"/>
              <a:ext cx="14179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95"/>
          <p:cNvSpPr txBox="1">
            <a:spLocks/>
          </p:cNvSpPr>
          <p:nvPr/>
        </p:nvSpPr>
        <p:spPr>
          <a:xfrm>
            <a:off x="5962072" y="257417"/>
            <a:ext cx="3167704" cy="399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chemeClr val="accent1"/>
              </a:buClr>
            </a:pPr>
            <a:r>
              <a:rPr lang="en-GB" sz="900" b="1" dirty="0" smtClean="0"/>
              <a:t>Deliverables</a:t>
            </a:r>
          </a:p>
          <a:p>
            <a:pPr marL="91440" lvl="2" indent="-117475">
              <a:spcAft>
                <a:spcPts val="100"/>
              </a:spcAft>
              <a:buClr>
                <a:schemeClr val="accent1"/>
              </a:buClr>
            </a:pPr>
            <a:r>
              <a:rPr lang="en-US" sz="900" b="1" dirty="0" smtClean="0">
                <a:solidFill>
                  <a:schemeClr val="tx2"/>
                </a:solidFill>
              </a:rPr>
              <a:t>Examples of milestones under the deliverable</a:t>
            </a:r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49"/>
            <a:ext cx="806199" cy="540887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>
                <a:solidFill>
                  <a:schemeClr val="bg1"/>
                </a:solidFill>
              </a:rPr>
              <a:t>Risk </a:t>
            </a:r>
            <a:r>
              <a:rPr lang="en-US" sz="900" b="1" dirty="0" smtClean="0">
                <a:solidFill>
                  <a:schemeClr val="bg1"/>
                </a:solidFill>
              </a:rPr>
              <a:t>Measurement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2107751"/>
              </p:ext>
            </p:extLst>
          </p:nvPr>
        </p:nvGraphicFramePr>
        <p:xfrm>
          <a:off x="1028700" y="687126"/>
          <a:ext cx="9077325" cy="5362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5900"/>
                <a:gridCol w="742950"/>
                <a:gridCol w="781050"/>
                <a:gridCol w="1053380"/>
                <a:gridCol w="1204045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Milestones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/ Deliverabl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esources (FTE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US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Business Entity Material Risk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1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. Allair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0">
                  <a:txBody>
                    <a:bodyPr/>
                    <a:lstStyle/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r>
                        <a:rPr lang="en-GB" sz="900" i="1" smtClean="0">
                          <a:solidFill>
                            <a:srgbClr val="000000"/>
                          </a:solidFill>
                        </a:rPr>
                        <a:t>Current resource estimates do not consider resources required for T.O.M. implementation as this will not be known until implementation planning steps are complete.</a:t>
                      </a: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endParaRPr lang="en-GB" sz="900" i="1" smtClean="0">
                        <a:solidFill>
                          <a:srgbClr val="000000"/>
                        </a:solidFill>
                      </a:endParaRP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r>
                        <a:rPr lang="en-GB" sz="900" i="1" smtClean="0">
                          <a:solidFill>
                            <a:srgbClr val="000000"/>
                          </a:solidFill>
                        </a:rPr>
                        <a:t>Does not account for SHUSA Risk Managers resource requirements, may be significant during initial summer months.</a:t>
                      </a: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endParaRPr lang="en-GB" sz="90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smtClean="0">
                          <a:solidFill>
                            <a:srgbClr val="000000"/>
                          </a:solidFill>
                        </a:rPr>
                        <a:t>Total (SHUSA): 9</a:t>
                      </a:r>
                      <a:r>
                        <a:rPr lang="en-GB" sz="900" b="1" baseline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smtClean="0">
                          <a:solidFill>
                            <a:srgbClr val="000000"/>
                          </a:solidFill>
                        </a:rPr>
                        <a:t>Current Internal: 6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smtClean="0">
                          <a:solidFill>
                            <a:srgbClr val="000000"/>
                          </a:solidFill>
                        </a:rPr>
                        <a:t>Current External: 3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smtClean="0">
                          <a:solidFill>
                            <a:srgbClr val="000000"/>
                          </a:solidFill>
                        </a:rPr>
                        <a:t>New Internal: 0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smtClean="0">
                          <a:solidFill>
                            <a:srgbClr val="000000"/>
                          </a:solidFill>
                        </a:rPr>
                        <a:t>New External: 0</a:t>
                      </a:r>
                      <a:endParaRPr lang="en-GB" sz="9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US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gregation Workshop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USA To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wn Aggreg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sk SHUSA Approva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 and Assessment Polic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1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N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Business Entity Material Risk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D. Allair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Risk - SBN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N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gregation Workshop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US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Business Entity Material Risk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D. Allair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Risk - SCUS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US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gregation Workshop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ork Santander Investment Securities (SIS) - Business Entity Material Risk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D. Allair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Risk - SI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S Aggregation Workshop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erto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o - Business Entity Material Risk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D. Allair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Risk - PR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gregation Workshop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ami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Business Entity Material Risk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D. Allair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Risk - Miami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ami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gregation Workshop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undational Risk Processes and ensure complete foundational risk inventory is in pla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18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. Smit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ch Foundational Risk Process, identify deficient processes, and use gap analyses to determine how to optimize process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1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ediation of Foundational Risk Process pla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1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28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pdat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isk taxonom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pdat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material risk inventory template and guidan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utomat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interface for risk inventory templat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/3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raining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materials, policies and procedures based on updated proc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/3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atabase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for foundational inputs and data sources for risk I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/15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/15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evelopment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of technology requirements and BRDs for database with business entity level foundational inputs and data sourc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/15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5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raining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materials, policies and procedures for risk ID database and proc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/15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13/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E. Smith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7567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21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12729"/>
            <a:ext cx="9491663" cy="396875"/>
          </a:xfrm>
        </p:spPr>
        <p:txBody>
          <a:bodyPr/>
          <a:lstStyle/>
          <a:p>
            <a:r>
              <a:rPr lang="en-GB" dirty="0" smtClean="0"/>
              <a:t>Risk Transformation: </a:t>
            </a:r>
            <a:r>
              <a:rPr lang="en-GB" dirty="0" smtClean="0"/>
              <a:t>Project </a:t>
            </a:r>
            <a:r>
              <a:rPr lang="en-GB" dirty="0"/>
              <a:t>P</a:t>
            </a:r>
            <a:r>
              <a:rPr lang="en-GB" dirty="0" smtClean="0"/>
              <a:t>lan (4/6</a:t>
            </a:r>
            <a:r>
              <a:rPr lang="en-GB" dirty="0" smtClean="0"/>
              <a:t>)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8607567" y="348313"/>
            <a:ext cx="1417952" cy="212366"/>
            <a:chOff x="8721411" y="152400"/>
            <a:chExt cx="1417952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8721411" y="152400"/>
              <a:ext cx="141795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JUNE </a:t>
              </a:r>
              <a:r>
                <a:rPr lang="en-US" sz="1200" dirty="0" smtClean="0">
                  <a:solidFill>
                    <a:srgbClr val="808080"/>
                  </a:solidFill>
                </a:rPr>
                <a:t>24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WIP PLAN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34" name="AutoShape 31"/>
            <p:cNvCxnSpPr>
              <a:cxnSpLocks noChangeShapeType="1"/>
              <a:stCxn id="33" idx="2"/>
              <a:endCxn id="33" idx="4"/>
            </p:cNvCxnSpPr>
            <p:nvPr/>
          </p:nvCxnSpPr>
          <p:spPr bwMode="auto">
            <a:xfrm>
              <a:off x="8721411" y="15240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8721411" y="364766"/>
              <a:ext cx="14179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95"/>
          <p:cNvSpPr txBox="1">
            <a:spLocks/>
          </p:cNvSpPr>
          <p:nvPr/>
        </p:nvSpPr>
        <p:spPr>
          <a:xfrm>
            <a:off x="5962072" y="257417"/>
            <a:ext cx="3167704" cy="399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chemeClr val="accent1"/>
              </a:buClr>
            </a:pPr>
            <a:r>
              <a:rPr lang="en-GB" sz="900" b="1" dirty="0" smtClean="0"/>
              <a:t>Deliverables</a:t>
            </a:r>
          </a:p>
          <a:p>
            <a:pPr marL="91440" lvl="2" indent="-117475">
              <a:spcAft>
                <a:spcPts val="100"/>
              </a:spcAft>
              <a:buClr>
                <a:schemeClr val="accent1"/>
              </a:buClr>
            </a:pPr>
            <a:r>
              <a:rPr lang="en-US" sz="900" b="1" dirty="0" smtClean="0">
                <a:solidFill>
                  <a:schemeClr val="tx2"/>
                </a:solidFill>
              </a:rPr>
              <a:t>Examples of milestones under the deliverable</a:t>
            </a:r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51"/>
            <a:ext cx="806199" cy="47802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>
                <a:solidFill>
                  <a:schemeClr val="bg1"/>
                </a:solidFill>
              </a:rPr>
              <a:t>Risk </a:t>
            </a:r>
            <a:r>
              <a:rPr lang="en-US" sz="900" b="1" dirty="0" smtClean="0">
                <a:solidFill>
                  <a:schemeClr val="bg1"/>
                </a:solidFill>
              </a:rPr>
              <a:t>Management Processes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45054"/>
              </p:ext>
            </p:extLst>
          </p:nvPr>
        </p:nvGraphicFramePr>
        <p:xfrm>
          <a:off x="1028700" y="687126"/>
          <a:ext cx="9077325" cy="4323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5900"/>
                <a:gridCol w="742950"/>
                <a:gridCol w="781050"/>
                <a:gridCol w="1053380"/>
                <a:gridCol w="1204045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Milestones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/ Deliverabl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esources (FTE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Implement Target Operating Model aligned with 3LoD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rinciple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y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(six) risk types for SHUSA, SBNA, and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CUSA (Fin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order of implementation TBD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/2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16">
                  <a:txBody>
                    <a:bodyPr/>
                    <a:lstStyle/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r>
                        <a:rPr lang="en-GB" sz="900" i="1" dirty="0" smtClean="0">
                          <a:solidFill>
                            <a:srgbClr val="000000"/>
                          </a:solidFill>
                        </a:rPr>
                        <a:t>Current resource estimates do not consider resources required for T.O.M. implementation as this will not be known until implementation planning steps are complete.</a:t>
                      </a: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endParaRPr lang="en-GB" sz="90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dirty="0" smtClean="0">
                          <a:solidFill>
                            <a:srgbClr val="000000"/>
                          </a:solidFill>
                        </a:rPr>
                        <a:t>Total (SHUSA): NA</a:t>
                      </a: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Internal: NA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External: NA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Internal: NA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External: NA</a:t>
                      </a:r>
                      <a:endParaRPr lang="en-GB" sz="9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ype A (Most likely Credit) Framework Implemented at SHUSA, SBNA, and SCUS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ype B (Most likely ERM + RAS + Strategic) Framework Implemented at SHUSA, SBNA, and SCUS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ype C (Most Likely Market &amp; Liquidity) at SHUSA, SBNA, SCUSA and Other Entiti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ype D (Most likely Compliance) Framework at SHUSA, SBNA, SCUSA, and Other Entities Implemen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ype E (Most likely Risk Management Information) Framework at SHUSA, SBNA, and SCUSA Implemen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6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/2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74924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ype F (Most likely Capital Risk) Framework at SHUSA, SBNA, and SCUSA Implemen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6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/2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rgete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high-level review of wholesale credi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igh-leve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view and revision of wholesale credit process limits and controls and delegation of authority at SCUSA and SBN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a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alyses and remediation plans for the management of credit, market and trading, interest rate and strategic/reputational ris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7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6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a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alyses and remediation plans for each risk (credit, market and trading, interest rate and strategic/reputational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7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16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mplementatio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f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w Credit Risk Rating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reflect statistically valid rating methodology (CRE Q1-16 /C&amp;I Q2-16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2/20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1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. Specto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ting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ermination (Includes Model Development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2/20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1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quidit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ess Test Challenge Process Framewor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. Ay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quidity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ess Test Challenge Process Framework Prepar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1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Calibri" panose="020F0502020204030204" pitchFamily="34" charset="0"/>
                        <a:buChar char="₋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ittee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provals and Review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2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291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440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12729"/>
            <a:ext cx="9491663" cy="396875"/>
          </a:xfrm>
        </p:spPr>
        <p:txBody>
          <a:bodyPr/>
          <a:lstStyle/>
          <a:p>
            <a:r>
              <a:rPr lang="en-GB" dirty="0" smtClean="0"/>
              <a:t>Risk Transformation: </a:t>
            </a:r>
            <a:r>
              <a:rPr lang="en-GB" dirty="0" smtClean="0"/>
              <a:t>Project </a:t>
            </a:r>
            <a:r>
              <a:rPr lang="en-GB" dirty="0"/>
              <a:t>P</a:t>
            </a:r>
            <a:r>
              <a:rPr lang="en-GB" dirty="0" smtClean="0"/>
              <a:t>lan (5/6</a:t>
            </a:r>
            <a:r>
              <a:rPr lang="en-GB" dirty="0" smtClean="0"/>
              <a:t>)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8607567" y="348313"/>
            <a:ext cx="1417952" cy="212366"/>
            <a:chOff x="8721411" y="152400"/>
            <a:chExt cx="1417952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8721411" y="152400"/>
              <a:ext cx="141795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JUNE </a:t>
              </a:r>
              <a:r>
                <a:rPr lang="en-US" sz="1200" dirty="0" smtClean="0">
                  <a:solidFill>
                    <a:srgbClr val="808080"/>
                  </a:solidFill>
                </a:rPr>
                <a:t>24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</a:rPr>
                <a:t> WIP PLAN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34" name="AutoShape 31"/>
            <p:cNvCxnSpPr>
              <a:cxnSpLocks noChangeShapeType="1"/>
              <a:stCxn id="33" idx="2"/>
              <a:endCxn id="33" idx="4"/>
            </p:cNvCxnSpPr>
            <p:nvPr/>
          </p:nvCxnSpPr>
          <p:spPr bwMode="auto">
            <a:xfrm>
              <a:off x="8721411" y="15240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8721411" y="364766"/>
              <a:ext cx="14179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95"/>
          <p:cNvSpPr txBox="1">
            <a:spLocks/>
          </p:cNvSpPr>
          <p:nvPr/>
        </p:nvSpPr>
        <p:spPr>
          <a:xfrm>
            <a:off x="5962072" y="257417"/>
            <a:ext cx="3167704" cy="399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chemeClr val="accent1"/>
              </a:buClr>
            </a:pPr>
            <a:r>
              <a:rPr lang="en-GB" sz="900" b="1" dirty="0" smtClean="0"/>
              <a:t>Deliverables</a:t>
            </a:r>
          </a:p>
          <a:p>
            <a:pPr marL="91440" lvl="2" indent="-117475">
              <a:spcAft>
                <a:spcPts val="100"/>
              </a:spcAft>
              <a:buClr>
                <a:schemeClr val="accent1"/>
              </a:buClr>
            </a:pPr>
            <a:r>
              <a:rPr lang="en-US" sz="900" b="1" dirty="0" smtClean="0">
                <a:solidFill>
                  <a:schemeClr val="tx2"/>
                </a:solidFill>
              </a:rPr>
              <a:t>Examples of milestones under the deliverable</a:t>
            </a:r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50"/>
            <a:ext cx="806199" cy="50945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>
                <a:solidFill>
                  <a:schemeClr val="bg1"/>
                </a:solidFill>
              </a:rPr>
              <a:t>Risk </a:t>
            </a:r>
            <a:r>
              <a:rPr lang="en-US" sz="900" b="1" dirty="0" smtClean="0">
                <a:solidFill>
                  <a:schemeClr val="bg1"/>
                </a:solidFill>
              </a:rPr>
              <a:t>Monitoring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5362438"/>
              </p:ext>
            </p:extLst>
          </p:nvPr>
        </p:nvGraphicFramePr>
        <p:xfrm>
          <a:off x="1028700" y="687126"/>
          <a:ext cx="9077325" cy="4867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5900"/>
                <a:gridCol w="742950"/>
                <a:gridCol w="781050"/>
                <a:gridCol w="1053380"/>
                <a:gridCol w="1204045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Milestones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/ Deliverabl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Resources (FTE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ick-wi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hancements for priority reports (Board and Level 1 Risk Committees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1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1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6">
                  <a:txBody>
                    <a:bodyPr/>
                    <a:lstStyle/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r>
                        <a:rPr lang="en-GB" sz="900" i="1" dirty="0" smtClean="0">
                          <a:solidFill>
                            <a:srgbClr val="000000"/>
                          </a:solidFill>
                        </a:rPr>
                        <a:t>Current resource estimates do not consider resources required for T.O.M. implementation as this will not be known until implementation planning steps are complete.</a:t>
                      </a: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endParaRPr lang="en-GB" sz="900" i="1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r>
                        <a:rPr lang="en-GB" sz="900" i="1" dirty="0" smtClean="0">
                          <a:solidFill>
                            <a:srgbClr val="000000"/>
                          </a:solidFill>
                        </a:rPr>
                        <a:t>Assumes</a:t>
                      </a:r>
                      <a:r>
                        <a:rPr lang="en-GB" sz="900" i="1" baseline="0" dirty="0" smtClean="0">
                          <a:solidFill>
                            <a:srgbClr val="000000"/>
                          </a:solidFill>
                        </a:rPr>
                        <a:t> 1 existing internal resource will be needed per Risk Type, variance 50%.  </a:t>
                      </a:r>
                      <a:endParaRPr lang="en-GB" sz="900" i="1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lvl="1" indent="0">
                        <a:buClr>
                          <a:srgbClr val="FF0000"/>
                        </a:buClr>
                        <a:buNone/>
                      </a:pPr>
                      <a:endParaRPr lang="en-GB" sz="90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dirty="0" smtClean="0">
                          <a:solidFill>
                            <a:srgbClr val="000000"/>
                          </a:solidFill>
                        </a:rPr>
                        <a:t>Total (SHUSA): 11</a:t>
                      </a: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Internal: 7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Current External: 3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endParaRPr lang="en-GB" sz="900" b="1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Internal: 1</a:t>
                      </a:r>
                    </a:p>
                    <a:p>
                      <a:pPr marL="87313" lvl="1" indent="-87313">
                        <a:buClr>
                          <a:srgbClr val="FF0000"/>
                        </a:buClr>
                      </a:pPr>
                      <a:r>
                        <a:rPr lang="en-GB" sz="900" b="1" baseline="0" dirty="0" smtClean="0">
                          <a:solidFill>
                            <a:srgbClr val="000000"/>
                          </a:solidFill>
                        </a:rPr>
                        <a:t>New External: 0</a:t>
                      </a:r>
                      <a:endParaRPr lang="en-GB" sz="900" b="1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current reporting landscape (for Board and Level 1 Risk Committee reports only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1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governance around reports (for Board and Level 1 Risk Committee reports only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lementatio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quick-win enhancements (for Board and Level 1 Risk Committee reports only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1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inition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target risk reporting landscap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v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of reporting enhanc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template reports and socialization of Wave 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ll-ou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Wave 1 repor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v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of reporting enhanc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template reports and socialization of Wave 2 (based on materiality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ll-ou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 Wave 2 repor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v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of reporting enhanc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plate reports and socialization of Wave 3 (Remaining Entities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ll-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 of Wave 3 repor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lysis of Current Data Against Enhanced Report Data Requir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2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8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of Wave 1 of Enhanced Reports Crea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2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r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ventory Assessed Against Wave 1 of Enhanced Repor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ntory of Wave 2 of Enhanced Reports Crea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r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ventory Assessed Against Wave 2 of Enhanced Repor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8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lysis of Current Data Against Enhanced Report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ata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nventory of Wave 3 of Enhanced Reports Creat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lvl="1" algn="l" fontAlgn="ctr">
                        <a:buClr>
                          <a:srgbClr val="FF0000"/>
                        </a:buClr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urrent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ata Inventory Assessed Against Wave 3 of Enhanced Repor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 launch additional waves of reporting enhanc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inement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 monitoring documentation and autom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s for additional report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ource needs and conduct additional refinements to monitoring requirements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31/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315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/>
        </p:nvSpPr>
        <p:spPr>
          <a:xfrm>
            <a:off x="844184" y="842360"/>
            <a:ext cx="4069560" cy="509662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" name="Rectangle 6"/>
          <p:cNvSpPr txBox="1">
            <a:spLocks/>
          </p:cNvSpPr>
          <p:nvPr/>
        </p:nvSpPr>
        <p:spPr>
          <a:xfrm>
            <a:off x="844185" y="825099"/>
            <a:ext cx="4069560" cy="354498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45720" rIns="72009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Key dependencies (examples)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" name="Rectangle 95"/>
          <p:cNvSpPr txBox="1">
            <a:spLocks/>
          </p:cNvSpPr>
          <p:nvPr/>
        </p:nvSpPr>
        <p:spPr>
          <a:xfrm>
            <a:off x="942107" y="1224567"/>
            <a:ext cx="3885148" cy="4160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>
                <a:schemeClr val="accent1"/>
              </a:buClr>
              <a:buNone/>
            </a:pPr>
            <a:r>
              <a:rPr lang="en-GB" sz="1200" b="1" u="sng" dirty="0" smtClean="0"/>
              <a:t>Outgoing:</a:t>
            </a:r>
            <a:endParaRPr lang="en-GB" sz="1200" u="sng" dirty="0" smtClean="0"/>
          </a:p>
          <a:p>
            <a:pPr marL="87313" lvl="1" indent="-87313">
              <a:buClr>
                <a:schemeClr val="accent1"/>
              </a:buClr>
            </a:pPr>
            <a:r>
              <a:rPr lang="en-GB" sz="1200" dirty="0" smtClean="0"/>
              <a:t>CCAR</a:t>
            </a:r>
          </a:p>
          <a:p>
            <a:pPr marL="368943" lvl="2" indent="-87313">
              <a:buClr>
                <a:schemeClr val="accent1"/>
              </a:buClr>
            </a:pPr>
            <a:r>
              <a:rPr lang="en-GB" sz="1200" dirty="0"/>
              <a:t> </a:t>
            </a:r>
            <a:r>
              <a:rPr lang="en-GB" sz="1200" dirty="0" smtClean="0"/>
              <a:t>Risk id will feed scenario generation for </a:t>
            </a:r>
            <a:r>
              <a:rPr lang="en-GB" sz="1200" dirty="0" err="1" smtClean="0"/>
              <a:t>CCAR</a:t>
            </a:r>
            <a:endParaRPr lang="en-GB" sz="1200" dirty="0" smtClean="0"/>
          </a:p>
          <a:p>
            <a:pPr marL="87313" lvl="1" indent="-87313">
              <a:buClr>
                <a:schemeClr val="accent1"/>
              </a:buClr>
            </a:pPr>
            <a:r>
              <a:rPr lang="en-GB" sz="1200" dirty="0" smtClean="0"/>
              <a:t>Operational Risk, Model Risk and Model </a:t>
            </a:r>
            <a:r>
              <a:rPr lang="en-GB" sz="1200" dirty="0" err="1" smtClean="0"/>
              <a:t>Developement</a:t>
            </a:r>
            <a:endParaRPr lang="en-GB" sz="1200" dirty="0" smtClean="0"/>
          </a:p>
          <a:p>
            <a:pPr marL="368943" lvl="2" indent="-87313">
              <a:buClr>
                <a:schemeClr val="accent1"/>
              </a:buClr>
            </a:pPr>
            <a:r>
              <a:rPr lang="en-GB" sz="1200" dirty="0" smtClean="0"/>
              <a:t>Risk RAS for individual Risk types to be aligned with the overall</a:t>
            </a:r>
          </a:p>
          <a:p>
            <a:pPr marL="368943" lvl="2" indent="-87313">
              <a:buClr>
                <a:schemeClr val="accent1"/>
              </a:buClr>
            </a:pPr>
            <a:r>
              <a:rPr lang="en-GB" sz="1200" dirty="0" smtClean="0"/>
              <a:t> Risk reporting framework and templates is dependent on overall Risk reporting template</a:t>
            </a:r>
          </a:p>
          <a:p>
            <a:pPr marL="281630" lvl="2" indent="0">
              <a:buClr>
                <a:schemeClr val="accent1"/>
              </a:buClr>
              <a:buNone/>
            </a:pPr>
            <a:endParaRPr lang="en-GB" sz="1200" dirty="0" smtClean="0"/>
          </a:p>
          <a:p>
            <a:pPr marL="281630" lvl="2" indent="0">
              <a:buClr>
                <a:schemeClr val="accent1"/>
              </a:buClr>
              <a:buNone/>
            </a:pPr>
            <a:endParaRPr lang="en-GB" sz="1200" dirty="0"/>
          </a:p>
          <a:p>
            <a:pPr marL="0" lvl="1" indent="0">
              <a:buClr>
                <a:schemeClr val="accent1"/>
              </a:buClr>
              <a:buNone/>
            </a:pPr>
            <a:r>
              <a:rPr lang="en-GB" sz="1200" b="1" u="sng" dirty="0" smtClean="0"/>
              <a:t>Incoming:</a:t>
            </a:r>
            <a:endParaRPr lang="en-GB" sz="1200" b="1" u="sng" dirty="0"/>
          </a:p>
          <a:p>
            <a:pPr marL="87313" lvl="1" indent="-87313">
              <a:buClr>
                <a:schemeClr val="accent1"/>
              </a:buClr>
            </a:pPr>
            <a:r>
              <a:rPr lang="en-GB" sz="1200" dirty="0"/>
              <a:t> Data &amp; IT</a:t>
            </a:r>
          </a:p>
          <a:p>
            <a:pPr marL="368943" lvl="2" indent="-87313">
              <a:buClr>
                <a:schemeClr val="accent1"/>
              </a:buClr>
            </a:pPr>
            <a:r>
              <a:rPr lang="en-GB" sz="1200" dirty="0" smtClean="0"/>
              <a:t> Year </a:t>
            </a:r>
            <a:r>
              <a:rPr lang="en-GB" sz="1200" dirty="0"/>
              <a:t>2-3: </a:t>
            </a:r>
            <a:r>
              <a:rPr lang="en-GB" sz="1200" dirty="0" smtClean="0"/>
              <a:t>Risk ID tool for repeatable Risk IT process</a:t>
            </a:r>
            <a:endParaRPr lang="en-GB" sz="1200" dirty="0"/>
          </a:p>
          <a:p>
            <a:pPr marL="87313" lvl="1" indent="-87313">
              <a:buClr>
                <a:schemeClr val="accent1"/>
              </a:buClr>
            </a:pPr>
            <a:endParaRPr lang="en-GB" sz="1200" dirty="0"/>
          </a:p>
          <a:p>
            <a:pPr marL="281630" lvl="2" indent="0">
              <a:buClr>
                <a:schemeClr val="accent1"/>
              </a:buClr>
              <a:buNone/>
            </a:pPr>
            <a:endParaRPr lang="en-GB" sz="1200" dirty="0"/>
          </a:p>
          <a:p>
            <a:pPr marL="368943" lvl="2" indent="-87313">
              <a:buClr>
                <a:schemeClr val="accent1"/>
              </a:buClr>
            </a:pPr>
            <a:endParaRPr lang="en-GB" sz="1200" dirty="0"/>
          </a:p>
          <a:p>
            <a:pPr marL="87313" lvl="1" indent="-87313">
              <a:buClr>
                <a:schemeClr val="accent1"/>
              </a:buClr>
            </a:pPr>
            <a:endParaRPr lang="en-GB" sz="1200" dirty="0"/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5113318" y="842359"/>
            <a:ext cx="4069560" cy="509662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200" dirty="0" err="1" smtClean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 txBox="1">
            <a:spLocks/>
          </p:cNvSpPr>
          <p:nvPr/>
        </p:nvSpPr>
        <p:spPr>
          <a:xfrm>
            <a:off x="5113318" y="825738"/>
            <a:ext cx="4069560" cy="354498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45720" rIns="72009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707277"/>
              </a:buClr>
            </a:pPr>
            <a:r>
              <a:rPr lang="en-US" sz="1200" b="1" dirty="0" smtClean="0">
                <a:solidFill>
                  <a:srgbClr val="FFFFFF"/>
                </a:solidFill>
              </a:rPr>
              <a:t>Risks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40" name="Rectangle 95"/>
          <p:cNvSpPr txBox="1">
            <a:spLocks/>
          </p:cNvSpPr>
          <p:nvPr/>
        </p:nvSpPr>
        <p:spPr>
          <a:xfrm>
            <a:off x="5205524" y="1224567"/>
            <a:ext cx="3885148" cy="4160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>
                <a:schemeClr val="accent1"/>
              </a:buClr>
              <a:buNone/>
            </a:pPr>
            <a:r>
              <a:rPr lang="en-GB" sz="1200" b="1" dirty="0" smtClean="0"/>
              <a:t>TBD</a:t>
            </a:r>
            <a:endParaRPr lang="en-GB" sz="120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82575" y="212729"/>
            <a:ext cx="9491663" cy="396875"/>
          </a:xfrm>
        </p:spPr>
        <p:txBody>
          <a:bodyPr/>
          <a:lstStyle/>
          <a:p>
            <a:pPr marL="233363"/>
            <a:r>
              <a:rPr lang="en-GB" dirty="0" smtClean="0"/>
              <a:t>Risk Transformation: project plan (6/6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432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5"/>
  <p:tag name="ISNEWSLIDENUMBER" val="True"/>
  <p:tag name="PREVIOUSNAME" val="C:\Users\Cynthia Wu\Nomadesk\HCS-CART-2015\CART Central Team\Project Plans\One pagers\Model Dev, MRM, Risk and Ops Risk Plans 20150624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2088</Words>
  <Application>Microsoft Office PowerPoint</Application>
  <PresentationFormat>35mm Slides</PresentationFormat>
  <Paragraphs>585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7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4_Santander_CUF_HCS218</vt:lpstr>
      <vt:lpstr>think-cell Slide</vt:lpstr>
      <vt:lpstr>Risk Transformation: Project Plan (1/6)</vt:lpstr>
      <vt:lpstr>Risk Transformation: Project Plan (2/6)</vt:lpstr>
      <vt:lpstr>Risk Transformation: Project Plan (3/6)</vt:lpstr>
      <vt:lpstr>Risk Transformation: Project Plan (4/6)</vt:lpstr>
      <vt:lpstr>Risk Transformation: Project Plan (5/6)</vt:lpstr>
      <vt:lpstr>Risk Transformation: project plan (6/6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6-26T04:1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